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1577" r:id="rId2"/>
  </p:sldIdLst>
  <p:sldSz cx="17068800" cy="9601200"/>
  <p:notesSz cx="6865938" cy="9998075"/>
  <p:custDataLst>
    <p:tags r:id="rId5"/>
  </p:custDataLst>
  <p:defaultTextStyle>
    <a:defPPr>
      <a:defRPr lang="de-DE"/>
    </a:defPPr>
    <a:lvl1pPr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1pPr>
    <a:lvl2pPr marL="337197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2pPr>
    <a:lvl3pPr marL="674392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3pPr>
    <a:lvl4pPr marL="1011590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4pPr>
    <a:lvl5pPr marL="1348786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5pPr>
    <a:lvl6pPr marL="2247976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6pPr>
    <a:lvl7pPr marL="2697571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7pPr>
    <a:lvl8pPr marL="3147167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8pPr>
    <a:lvl9pPr marL="3596764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53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F7941E"/>
    <a:srgbClr val="558ED5"/>
    <a:srgbClr val="458CCB"/>
    <a:srgbClr val="F6C834"/>
    <a:srgbClr val="99FF99"/>
    <a:srgbClr val="AFCC45"/>
    <a:srgbClr val="ED8036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03" autoAdjust="0"/>
    <p:restoredTop sz="93004" autoAdjust="0"/>
  </p:normalViewPr>
  <p:slideViewPr>
    <p:cSldViewPr>
      <p:cViewPr varScale="1">
        <p:scale>
          <a:sx n="45" d="100"/>
          <a:sy n="45" d="100"/>
        </p:scale>
        <p:origin x="66" y="972"/>
      </p:cViewPr>
      <p:guideLst>
        <p:guide orient="horz" pos="3024"/>
        <p:guide pos="53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1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r">
              <a:defRPr sz="1300"/>
            </a:lvl1pPr>
          </a:lstStyle>
          <a:p>
            <a:fld id="{19374F5E-DF45-4BEC-9D66-DFC57119FD26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1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r">
              <a:defRPr sz="1300"/>
            </a:lvl1pPr>
          </a:lstStyle>
          <a:p>
            <a:fld id="{CC694DF6-5A87-403A-9349-A7F7045054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696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00013" y="749300"/>
            <a:ext cx="6665912" cy="375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4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15459" y="4749086"/>
            <a:ext cx="5035022" cy="4499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6332" tIns="48167" rIns="96332" bIns="481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>
                <a:sym typeface="Noteworthy Bold" charset="0"/>
              </a:rPr>
              <a:t>Click to edit Master text styles</a:t>
            </a:r>
          </a:p>
          <a:p>
            <a:pPr lvl="1"/>
            <a:r>
              <a:rPr lang="de-DE">
                <a:sym typeface="Noteworthy Bold" charset="0"/>
              </a:rPr>
              <a:t>Second level</a:t>
            </a:r>
          </a:p>
          <a:p>
            <a:pPr lvl="2"/>
            <a:r>
              <a:rPr lang="de-DE">
                <a:sym typeface="Noteworthy Bold" charset="0"/>
              </a:rPr>
              <a:t>Third level</a:t>
            </a:r>
          </a:p>
          <a:p>
            <a:pPr lvl="3"/>
            <a:r>
              <a:rPr lang="de-DE">
                <a:sym typeface="Noteworthy Bold" charset="0"/>
              </a:rPr>
              <a:t>Fourth level</a:t>
            </a:r>
          </a:p>
          <a:p>
            <a:pPr lvl="4"/>
            <a:r>
              <a:rPr lang="de-DE">
                <a:sym typeface="Noteworthy Bold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1673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1pPr>
    <a:lvl2pPr marL="337197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2pPr>
    <a:lvl3pPr marL="674392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3pPr>
    <a:lvl4pPr marL="1011590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4pPr>
    <a:lvl5pPr marL="1348786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5pPr>
    <a:lvl6pPr marL="2247976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697571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47167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596764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80160" y="2982605"/>
            <a:ext cx="14508480" cy="205803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60320" y="5440681"/>
            <a:ext cx="1194816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10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1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2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2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3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3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283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532541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843" indent="-457843">
              <a:buClr>
                <a:srgbClr val="0070C0"/>
              </a:buClr>
              <a:buSzPct val="66000"/>
              <a:buFont typeface="Wingdings" panose="05000000000000000000" pitchFamily="2" charset="2"/>
              <a:buChar char=""/>
              <a:defRPr lang="de-DE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accent6"/>
              </a:buClr>
              <a:defRPr sz="2000"/>
            </a:lvl2pPr>
            <a:lvl3pPr marL="1556810" indent="-358448">
              <a:defRPr sz="1600"/>
            </a:lvl3pPr>
            <a:lvl4pPr marL="1913135" indent="-231189">
              <a:defRPr sz="1600"/>
            </a:lvl4pPr>
            <a:lvl5pPr marL="2441837" indent="0"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623987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8320" y="6169670"/>
            <a:ext cx="14508480" cy="190690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348320" y="4069400"/>
            <a:ext cx="14508480" cy="2100262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10459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2091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3137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418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5229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6275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732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8367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33782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3" y="2149162"/>
            <a:ext cx="7541684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53443" y="3044826"/>
            <a:ext cx="7541684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8670716" y="2149162"/>
            <a:ext cx="7544648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8670716" y="3044826"/>
            <a:ext cx="7544648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00609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874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76C5D-FED1-41A1-8E06-910D3F4D4E5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27072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3" y="382270"/>
            <a:ext cx="5615519" cy="162687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673431" y="382279"/>
            <a:ext cx="9541933" cy="819435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 marL="1556810" indent="-358448">
              <a:defRPr sz="2100"/>
            </a:lvl3pPr>
            <a:lvl4pPr>
              <a:defRPr sz="16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3443" y="2009146"/>
            <a:ext cx="5615519" cy="6567488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965806" y="1877075"/>
            <a:ext cx="55833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1586182" y="1965810"/>
            <a:ext cx="49630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83814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5605" y="6720844"/>
            <a:ext cx="10241280" cy="793433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345605" y="857885"/>
            <a:ext cx="10241280" cy="5760720"/>
          </a:xfrm>
        </p:spPr>
        <p:txBody>
          <a:bodyPr/>
          <a:lstStyle>
            <a:lvl1pPr marL="0" indent="0">
              <a:buNone/>
              <a:defRPr sz="4300"/>
            </a:lvl1pPr>
            <a:lvl2pPr marL="610459" indent="0">
              <a:buNone/>
              <a:defRPr sz="3700"/>
            </a:lvl2pPr>
            <a:lvl3pPr marL="1220919" indent="0">
              <a:buNone/>
              <a:defRPr sz="3200"/>
            </a:lvl3pPr>
            <a:lvl4pPr marL="1831378" indent="0">
              <a:buNone/>
              <a:defRPr sz="2700"/>
            </a:lvl4pPr>
            <a:lvl5pPr marL="2441837" indent="0">
              <a:buNone/>
              <a:defRPr sz="2700"/>
            </a:lvl5pPr>
            <a:lvl6pPr marL="3052295" indent="0">
              <a:buNone/>
              <a:defRPr sz="2700"/>
            </a:lvl6pPr>
            <a:lvl7pPr marL="3662756" indent="0">
              <a:buNone/>
              <a:defRPr sz="2700"/>
            </a:lvl7pPr>
            <a:lvl8pPr marL="4273215" indent="0">
              <a:buNone/>
              <a:defRPr sz="2700"/>
            </a:lvl8pPr>
            <a:lvl9pPr marL="4883674" indent="0">
              <a:buNone/>
              <a:defRPr sz="27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345605" y="7514277"/>
            <a:ext cx="10241280" cy="1126807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9350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135495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6730" y="476747"/>
            <a:ext cx="16135351" cy="1262657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7727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52886326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  <a:prstGeom prst="rect">
            <a:avLst/>
          </a:prstGeom>
        </p:spPr>
        <p:txBody>
          <a:bodyPr vert="horz" lIns="122092" tIns="61046" rIns="122092" bIns="61046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53440" y="8898900"/>
            <a:ext cx="3982720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0D665-4F68-4AA6-B008-E9950B6EADA3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" y="2568352"/>
            <a:ext cx="17068801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60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0" y="2240289"/>
            <a:ext cx="15361920" cy="6336348"/>
          </a:xfrm>
          <a:prstGeom prst="rect">
            <a:avLst/>
          </a:prstGeom>
        </p:spPr>
        <p:txBody>
          <a:bodyPr vert="horz" lIns="122092" tIns="61046" rIns="122092" bIns="61046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99A951C-1845-4918-81AE-B3AF6CA4B93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9136" y="8817922"/>
            <a:ext cx="1621632" cy="673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9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654" r:id="rId9"/>
  </p:sldLayoutIdLst>
  <p:hf hdr="0" dt="0"/>
  <p:txStyles>
    <p:titleStyle>
      <a:lvl1pPr algn="ctr" defTabSz="1220919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843" indent="-457843" algn="l" defTabSz="1220919" rtl="0" eaLnBrk="1" latinLnBrk="0" hangingPunct="1">
        <a:spcBef>
          <a:spcPct val="20000"/>
        </a:spcBef>
        <a:buClr>
          <a:srgbClr val="0070C0"/>
        </a:buClr>
        <a:buSzPct val="66000"/>
        <a:buFont typeface="Wingdings" panose="05000000000000000000" pitchFamily="2" charset="2"/>
        <a:buChar char="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1103" indent="-460256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56810" indent="-358448" algn="l" defTabSz="1220919" rtl="0" eaLnBrk="1" latinLnBrk="0" hangingPunct="1">
        <a:spcBef>
          <a:spcPct val="20000"/>
        </a:spcBef>
        <a:buClr>
          <a:srgbClr val="0070C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3135" indent="-231189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indent="0" algn="l" defTabSz="1220919" rtl="0" eaLnBrk="1" latinLnBrk="0" hangingPunct="1">
        <a:spcBef>
          <a:spcPct val="20000"/>
        </a:spcBef>
        <a:buFont typeface="Arial" panose="020B0604020202020204" pitchFamily="34" charset="0"/>
        <a:buNone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7527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798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844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890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45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091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1378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229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2756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321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3674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 title="SymTrafficLight">
            <a:extLst>
              <a:ext uri="{FF2B5EF4-FFF2-40B4-BE49-F238E27FC236}">
                <a16:creationId xmlns:a16="http://schemas.microsoft.com/office/drawing/2014/main" id="{B0BB83FD-BE2B-C48D-D997-462CFD8A5D4A}"/>
              </a:ext>
            </a:extLst>
          </p:cNvPr>
          <p:cNvGrpSpPr/>
          <p:nvPr/>
        </p:nvGrpSpPr>
        <p:grpSpPr>
          <a:xfrm>
            <a:off x="541512" y="408112"/>
            <a:ext cx="768795" cy="743212"/>
            <a:chOff x="719575" y="2209569"/>
            <a:chExt cx="1085406" cy="1085406"/>
          </a:xfrm>
        </p:grpSpPr>
        <p:sp>
          <p:nvSpPr>
            <p:cNvPr id="3" name="Ellipse 2" title="VisboAmpelRed">
              <a:extLst>
                <a:ext uri="{FF2B5EF4-FFF2-40B4-BE49-F238E27FC236}">
                  <a16:creationId xmlns:a16="http://schemas.microsoft.com/office/drawing/2014/main" id="{F1E84FC8-204B-1A8C-661B-9EDAC94A5B64}"/>
                </a:ext>
              </a:extLst>
            </p:cNvPr>
            <p:cNvSpPr/>
            <p:nvPr/>
          </p:nvSpPr>
          <p:spPr>
            <a:xfrm>
              <a:off x="1156092" y="2412460"/>
              <a:ext cx="200258" cy="200258"/>
            </a:xfrm>
            <a:prstGeom prst="ellipse">
              <a:avLst/>
            </a:prstGeom>
            <a:solidFill>
              <a:srgbClr val="FF000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Ellipse 3" title="VisboAmpelYellow">
              <a:extLst>
                <a:ext uri="{FF2B5EF4-FFF2-40B4-BE49-F238E27FC236}">
                  <a16:creationId xmlns:a16="http://schemas.microsoft.com/office/drawing/2014/main" id="{51D68D57-C323-9E50-9085-7468BF1DD0F9}"/>
                </a:ext>
              </a:extLst>
            </p:cNvPr>
            <p:cNvSpPr/>
            <p:nvPr/>
          </p:nvSpPr>
          <p:spPr>
            <a:xfrm>
              <a:off x="1156092" y="2659051"/>
              <a:ext cx="200258" cy="200258"/>
            </a:xfrm>
            <a:prstGeom prst="ellipse">
              <a:avLst/>
            </a:prstGeom>
            <a:solidFill>
              <a:srgbClr val="FFFF0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Ellipse 4" title="VisboAmpelGreen">
              <a:extLst>
                <a:ext uri="{FF2B5EF4-FFF2-40B4-BE49-F238E27FC236}">
                  <a16:creationId xmlns:a16="http://schemas.microsoft.com/office/drawing/2014/main" id="{D3674DD5-C265-F5CE-B408-04B6A2583E52}"/>
                </a:ext>
              </a:extLst>
            </p:cNvPr>
            <p:cNvSpPr/>
            <p:nvPr/>
          </p:nvSpPr>
          <p:spPr>
            <a:xfrm>
              <a:off x="1156092" y="2920406"/>
              <a:ext cx="200258" cy="200258"/>
            </a:xfrm>
            <a:prstGeom prst="ellipse">
              <a:avLst/>
            </a:prstGeom>
            <a:solidFill>
              <a:srgbClr val="00B050">
                <a:alpha val="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" name="Picture 7" descr="Stop light image traffic light clipart black and white 2">
              <a:extLst>
                <a:ext uri="{FF2B5EF4-FFF2-40B4-BE49-F238E27FC236}">
                  <a16:creationId xmlns:a16="http://schemas.microsoft.com/office/drawing/2014/main" id="{F1FFDDE7-7250-E71C-7600-1FF5016DD8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575" y="2209569"/>
              <a:ext cx="1085406" cy="1085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Abgerundetes Rechteck 4" title="Einzelprojektsicht">
            <a:extLst>
              <a:ext uri="{FF2B5EF4-FFF2-40B4-BE49-F238E27FC236}">
                <a16:creationId xmlns:a16="http://schemas.microsoft.com/office/drawing/2014/main" id="{7FEB1356-C9A6-9849-84E9-5937C3CDB3FD}"/>
              </a:ext>
            </a:extLst>
          </p:cNvPr>
          <p:cNvSpPr/>
          <p:nvPr/>
        </p:nvSpPr>
        <p:spPr>
          <a:xfrm>
            <a:off x="804020" y="2352284"/>
            <a:ext cx="15593162" cy="1693583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Einzelprojektsicht</a:t>
            </a:r>
          </a:p>
        </p:txBody>
      </p:sp>
      <p:sp>
        <p:nvSpPr>
          <p:cNvPr id="8" name="Abgerundetes Rechteck 54" title="Beschreibung">
            <a:extLst>
              <a:ext uri="{FF2B5EF4-FFF2-40B4-BE49-F238E27FC236}">
                <a16:creationId xmlns:a16="http://schemas.microsoft.com/office/drawing/2014/main" id="{CC20F053-130C-EB47-BB78-7ADE8CE7079A}"/>
              </a:ext>
            </a:extLst>
          </p:cNvPr>
          <p:cNvSpPr/>
          <p:nvPr/>
        </p:nvSpPr>
        <p:spPr>
          <a:xfrm>
            <a:off x="816688" y="1254990"/>
            <a:ext cx="7028686" cy="95776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Beschreibung</a:t>
            </a:r>
          </a:p>
        </p:txBody>
      </p:sp>
      <p:graphicFrame>
        <p:nvGraphicFramePr>
          <p:cNvPr id="9" name="Tabelle 8" title="TableBudgetCostAPVCV">
            <a:extLst>
              <a:ext uri="{FF2B5EF4-FFF2-40B4-BE49-F238E27FC236}">
                <a16:creationId xmlns:a16="http://schemas.microsoft.com/office/drawing/2014/main" id="{382A806D-30E9-8223-39A8-7EB315D2C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489029"/>
              </p:ext>
            </p:extLst>
          </p:nvPr>
        </p:nvGraphicFramePr>
        <p:xfrm>
          <a:off x="816688" y="4168700"/>
          <a:ext cx="15593162" cy="9919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6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76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7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00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976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700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2926">
                <a:tc>
                  <a:txBody>
                    <a:bodyPr/>
                    <a:lstStyle/>
                    <a:p>
                      <a:pPr algn="ctr"/>
                      <a:r>
                        <a:rPr lang="de-DE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Überblick und Details zu Koste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Aktueller</a:t>
                      </a:r>
                      <a:br>
                        <a:rPr lang="de-DE" sz="1400" kern="1200" baseline="0" dirty="0"/>
                      </a:br>
                      <a:r>
                        <a:rPr lang="de-DE" sz="1400" kern="1200" baseline="0" dirty="0"/>
                        <a:t>Stand</a:t>
                      </a:r>
                      <a:r>
                        <a:rPr lang="de-DE" sz="1400" kern="1200" dirty="0"/>
                        <a:t>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79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/>
                        <a:t>Letzte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Baseline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Diff. zu 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Aktuell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Erste 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Baseline [T€]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79698" rtl="0" eaLnBrk="1" latinLnBrk="0" hangingPunct="1"/>
                      <a:r>
                        <a:rPr lang="de-DE" sz="1400" kern="1200" dirty="0"/>
                        <a:t>Diff. zu</a:t>
                      </a:r>
                      <a:br>
                        <a:rPr lang="de-DE" sz="1400" kern="1200" dirty="0"/>
                      </a:br>
                      <a:r>
                        <a:rPr lang="de-DE" sz="1400" kern="1200" dirty="0"/>
                        <a:t>Aktuell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014">
                <a:tc>
                  <a:txBody>
                    <a:bodyPr/>
                    <a:lstStyle/>
                    <a:p>
                      <a:r>
                        <a:rPr lang="de-DE" sz="1200" dirty="0"/>
                        <a:t>Budget</a:t>
                      </a:r>
                      <a:endParaRPr lang="de-DE" sz="1200" dirty="0">
                        <a:latin typeface="+mn-lt"/>
                      </a:endParaRPr>
                    </a:p>
                  </a:txBody>
                  <a:tcPr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dirty="0">
                        <a:latin typeface="+mn-lt"/>
                      </a:endParaRPr>
                    </a:p>
                  </a:txBody>
                  <a:tcPr marL="36000" marR="288000" marT="36000" marB="36000">
                    <a:lnL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DC2251F-D477-0753-0E9A-D0D0D874CF41}"/>
              </a:ext>
            </a:extLst>
          </p:cNvPr>
          <p:cNvSpPr txBox="1"/>
          <p:nvPr/>
        </p:nvSpPr>
        <p:spPr>
          <a:xfrm>
            <a:off x="1039345" y="491796"/>
            <a:ext cx="2022447" cy="492717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/>
          <a:p>
            <a:pPr algn="l"/>
            <a:r>
              <a:rPr lang="de-DE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Projekt-Name</a:t>
            </a:r>
          </a:p>
        </p:txBody>
      </p:sp>
      <p:sp>
        <p:nvSpPr>
          <p:cNvPr id="11" name="Abgerundetes Rechteck 7" descr="noLegend">
            <a:extLst>
              <a:ext uri="{FF2B5EF4-FFF2-40B4-BE49-F238E27FC236}">
                <a16:creationId xmlns:a16="http://schemas.microsoft.com/office/drawing/2014/main" id="{F67965A9-01AE-3A59-71DE-D91F815D73E7}"/>
              </a:ext>
            </a:extLst>
          </p:cNvPr>
          <p:cNvSpPr/>
          <p:nvPr/>
        </p:nvSpPr>
        <p:spPr>
          <a:xfrm>
            <a:off x="816688" y="6816824"/>
            <a:ext cx="7401274" cy="188953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t"/>
          <a:lstStyle/>
          <a:p>
            <a:pPr algn="l"/>
            <a:r>
              <a:rPr lang="de-DE" sz="1400" dirty="0" err="1">
                <a:solidFill>
                  <a:schemeClr val="tx1"/>
                </a:solidFill>
              </a:rPr>
              <a:t>ProjektBedarfsChart</a:t>
            </a:r>
            <a:r>
              <a:rPr lang="de-DE" sz="1400" dirty="0">
                <a:solidFill>
                  <a:schemeClr val="tx1"/>
                </a:solidFill>
              </a:rPr>
              <a:t> (0;0;1;1;1)</a:t>
            </a:r>
          </a:p>
        </p:txBody>
      </p:sp>
      <p:sp>
        <p:nvSpPr>
          <p:cNvPr id="13" name="Abgerundetes Rechteck 64">
            <a:extLst>
              <a:ext uri="{FF2B5EF4-FFF2-40B4-BE49-F238E27FC236}">
                <a16:creationId xmlns:a16="http://schemas.microsoft.com/office/drawing/2014/main" id="{1F593A38-5FDF-FD73-4C01-12F23F1E1285}"/>
              </a:ext>
            </a:extLst>
          </p:cNvPr>
          <p:cNvSpPr/>
          <p:nvPr/>
        </p:nvSpPr>
        <p:spPr>
          <a:xfrm>
            <a:off x="8217962" y="1193869"/>
            <a:ext cx="8179220" cy="10188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1096" rIns="72000" bIns="61096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tx1"/>
                </a:solidFill>
              </a:rPr>
              <a:t>Ampel-Text</a:t>
            </a:r>
          </a:p>
        </p:txBody>
      </p:sp>
      <p:pic>
        <p:nvPicPr>
          <p:cNvPr id="14" name="Picture 2" title="SymTeam">
            <a:extLst>
              <a:ext uri="{FF2B5EF4-FFF2-40B4-BE49-F238E27FC236}">
                <a16:creationId xmlns:a16="http://schemas.microsoft.com/office/drawing/2014/main" id="{6E200EFF-B287-C6AD-5299-BAFED2975F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9962" y="368226"/>
            <a:ext cx="584838" cy="58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" title="SymFinance">
            <a:extLst>
              <a:ext uri="{FF2B5EF4-FFF2-40B4-BE49-F238E27FC236}">
                <a16:creationId xmlns:a16="http://schemas.microsoft.com/office/drawing/2014/main" id="{0B1DBD1D-C6BF-D197-5B89-9C781ADE0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1032" y="269064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title="SymSchedules">
            <a:extLst>
              <a:ext uri="{FF2B5EF4-FFF2-40B4-BE49-F238E27FC236}">
                <a16:creationId xmlns:a16="http://schemas.microsoft.com/office/drawing/2014/main" id="{FE6F8BB9-75C5-682A-4E3F-0E8A433E8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71264" y="368226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Abgerundetes Rechteck 7" descr="noLegend">
            <a:extLst>
              <a:ext uri="{FF2B5EF4-FFF2-40B4-BE49-F238E27FC236}">
                <a16:creationId xmlns:a16="http://schemas.microsoft.com/office/drawing/2014/main" id="{3E9D0552-B177-FD8D-55D5-371D17D9D7E2}"/>
              </a:ext>
            </a:extLst>
          </p:cNvPr>
          <p:cNvSpPr/>
          <p:nvPr/>
        </p:nvSpPr>
        <p:spPr>
          <a:xfrm>
            <a:off x="8534400" y="6816824"/>
            <a:ext cx="7850114" cy="187220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t"/>
          <a:lstStyle/>
          <a:p>
            <a:pPr algn="l"/>
            <a:r>
              <a:rPr lang="de-DE" sz="1400" dirty="0" err="1">
                <a:solidFill>
                  <a:schemeClr val="tx1"/>
                </a:solidFill>
              </a:rPr>
              <a:t>ProjektBedarfsChart</a:t>
            </a:r>
            <a:r>
              <a:rPr lang="de-DE" sz="1400" dirty="0">
                <a:solidFill>
                  <a:schemeClr val="tx1"/>
                </a:solidFill>
              </a:rPr>
              <a:t> (0;0;1;1;2)</a:t>
            </a:r>
          </a:p>
        </p:txBody>
      </p:sp>
    </p:spTree>
    <p:extLst>
      <p:ext uri="{BB962C8B-B14F-4D97-AF65-F5344CB8AC3E}">
        <p14:creationId xmlns:p14="http://schemas.microsoft.com/office/powerpoint/2010/main" val="2941206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chemeClr val="tx1"/>
            </a:solidFill>
            <a:latin typeface="Gill Sans Light"/>
            <a:ea typeface="Tahoma" panose="020B0604030504040204" pitchFamily="34" charset="0"/>
            <a:cs typeface="Tahoma" panose="020B060403050404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">
      <a:dk1>
        <a:srgbClr val="572E2D"/>
      </a:dk1>
      <a:lt1>
        <a:srgbClr val="2A5657"/>
      </a:lt1>
      <a:dk2>
        <a:srgbClr val="484D4B"/>
      </a:dk2>
      <a:lt2>
        <a:srgbClr val="A5A5A5"/>
      </a:lt2>
      <a:accent1>
        <a:srgbClr val="669AA4"/>
      </a:accent1>
      <a:accent2>
        <a:srgbClr val="930706"/>
      </a:accent2>
      <a:accent3>
        <a:srgbClr val="ACB4B4"/>
      </a:accent3>
      <a:accent4>
        <a:srgbClr val="492625"/>
      </a:accent4>
      <a:accent5>
        <a:srgbClr val="B8CACF"/>
      </a:accent5>
      <a:accent6>
        <a:srgbClr val="850605"/>
      </a:accent6>
      <a:hlink>
        <a:srgbClr val="0000FF"/>
      </a:hlink>
      <a:folHlink>
        <a:srgbClr val="FF00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Gill Sans Light</vt:lpstr>
      <vt:lpstr>Noteworthy Bold</vt:lpstr>
      <vt:lpstr>Wingdings</vt:lpstr>
      <vt:lpstr>Larissa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om</dc:creator>
  <cp:lastModifiedBy>Thomas Koytek</cp:lastModifiedBy>
  <cp:revision>2456</cp:revision>
  <cp:lastPrinted>2019-01-16T14:41:47Z</cp:lastPrinted>
  <dcterms:modified xsi:type="dcterms:W3CDTF">2022-11-25T14:07:34Z</dcterms:modified>
</cp:coreProperties>
</file>